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1949113" cy="6721475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759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353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294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055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3820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0584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7347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4112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C2D8"/>
    <a:srgbClr val="B1C6DB"/>
    <a:srgbClr val="CCDAE8"/>
    <a:srgbClr val="080808"/>
    <a:srgbClr val="F1F5F9"/>
    <a:srgbClr val="E1E9F1"/>
    <a:srgbClr val="80808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79" autoAdjust="0"/>
    <p:restoredTop sz="94799" autoAdjust="0"/>
  </p:normalViewPr>
  <p:slideViewPr>
    <p:cSldViewPr snapToGrid="0">
      <p:cViewPr varScale="1">
        <p:scale>
          <a:sx n="107" d="100"/>
          <a:sy n="107" d="100"/>
        </p:scale>
        <p:origin x="-84" y="-738"/>
      </p:cViewPr>
      <p:guideLst>
        <p:guide orient="horz" pos="2117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42" y="-72"/>
      </p:cViewPr>
      <p:guideLst>
        <p:guide orient="horz" pos="3224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803AF6-863C-4E79-B0E4-DA9EF3C26513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1616056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93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9425" cy="3843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5688"/>
            <a:ext cx="520382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TW" noProof="0" smtClean="0"/>
              <a:t>Click to edit Master text styles</a:t>
            </a:r>
          </a:p>
          <a:p>
            <a:pPr lvl="1"/>
            <a:r>
              <a:rPr lang="de-DE" altLang="zh-TW" noProof="0" smtClean="0"/>
              <a:t>Second level</a:t>
            </a:r>
          </a:p>
          <a:p>
            <a:pPr lvl="2"/>
            <a:r>
              <a:rPr lang="de-DE" altLang="zh-TW" noProof="0" smtClean="0"/>
              <a:t>Third level</a:t>
            </a:r>
          </a:p>
          <a:p>
            <a:pPr lvl="3"/>
            <a:r>
              <a:rPr lang="de-DE" altLang="zh-TW" noProof="0" smtClean="0"/>
              <a:t>Fourth level</a:t>
            </a:r>
          </a:p>
          <a:p>
            <a:pPr lvl="4"/>
            <a:r>
              <a:rPr lang="de-DE" altLang="zh-TW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33C40E2-8272-4AE7-AB34-08FFCFB9342A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31898641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5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29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0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820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584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347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112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951743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banner_hom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" y="2169432"/>
            <a:ext cx="6969138" cy="238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7135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969780" y="3644467"/>
            <a:ext cx="4979347" cy="907576"/>
          </a:xfrm>
        </p:spPr>
        <p:txBody>
          <a:bodyPr/>
          <a:lstStyle>
            <a:lvl1pPr algn="l">
              <a:defRPr sz="2400" b="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807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4B81-DDF4-4C7E-9C3D-A4C47BE53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52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4" y="3"/>
            <a:ext cx="10429861" cy="5762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79828" tIns="44725" rIns="179828" bIns="44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 smtClean="0"/>
              <a:t>ACTION TITLE</a:t>
            </a:r>
          </a:p>
        </p:txBody>
      </p:sp>
      <p:sp>
        <p:nvSpPr>
          <p:cNvPr id="216159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55705" y="6348413"/>
            <a:ext cx="169340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50" tIns="44725" rIns="89450" bIns="44725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0000"/>
              </a:lnSpc>
              <a:spcBef>
                <a:spcPct val="0"/>
              </a:spcBef>
              <a:defRPr sz="16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BE92BC5-E33B-412F-87DB-DE8801275F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Line 1129"/>
          <p:cNvSpPr>
            <a:spLocks noChangeShapeType="1"/>
          </p:cNvSpPr>
          <p:nvPr/>
        </p:nvSpPr>
        <p:spPr bwMode="auto">
          <a:xfrm>
            <a:off x="0" y="6348413"/>
            <a:ext cx="11949113" cy="0"/>
          </a:xfrm>
          <a:prstGeom prst="line">
            <a:avLst/>
          </a:prstGeom>
          <a:noFill/>
          <a:ln w="38100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19891" tIns="62344" rIns="119891" bIns="62344" anchor="ctr">
            <a:spAutoFit/>
          </a:bodyPr>
          <a:lstStyle/>
          <a:p>
            <a:endParaRPr lang="en-US" sz="3200"/>
          </a:p>
        </p:txBody>
      </p:sp>
      <p:graphicFrame>
        <p:nvGraphicFramePr>
          <p:cNvPr id="1030" name="Rectangle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523327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0" y="703263"/>
            <a:ext cx="11949113" cy="56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79828" tIns="35967" rIns="179828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6" y="131619"/>
            <a:ext cx="1290638" cy="3082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3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2pPr>
      <a:lvl3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3pPr>
      <a:lvl4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4pPr>
      <a:lvl5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5pPr>
      <a:lvl6pPr marL="609073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6pPr>
      <a:lvl7pPr marL="121816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7pPr>
      <a:lvl8pPr marL="182724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8pPr>
      <a:lvl9pPr marL="2436316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43209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471614" indent="-22840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+mn-lt"/>
        </a:defRPr>
      </a:lvl3pPr>
      <a:lvl4pPr marL="714822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▫"/>
        <a:defRPr sz="1800">
          <a:solidFill>
            <a:schemeClr val="tx1"/>
          </a:solidFill>
          <a:latin typeface="+mn-lt"/>
        </a:defRPr>
      </a:lvl4pPr>
      <a:lvl5pPr marL="958033" indent="-243209" algn="l" defTabSz="958033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▪"/>
        <a:defRPr sz="1800">
          <a:solidFill>
            <a:schemeClr val="tx1"/>
          </a:solidFill>
          <a:latin typeface="+mn-lt"/>
        </a:defRPr>
      </a:lvl5pPr>
      <a:lvl6pPr marL="1355628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6pPr>
      <a:lvl7pPr marL="196470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7pPr>
      <a:lvl8pPr marL="2573783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8pPr>
      <a:lvl9pPr marL="318286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73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6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4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1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99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5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3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7" Type="http://schemas.openxmlformats.org/officeDocument/2006/relationships/tags" Target="../tags/tag10.xml"/><Relationship Id="rId71" Type="http://schemas.openxmlformats.org/officeDocument/2006/relationships/image" Target="../media/image3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66" Type="http://schemas.openxmlformats.org/officeDocument/2006/relationships/tags" Target="../tags/tag69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61" Type="http://schemas.openxmlformats.org/officeDocument/2006/relationships/tags" Target="../tags/tag64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image" Target="../media/image4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slideLayout" Target="../slideLayouts/slideLayout2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oleObject" Target="../embeddings/oleObject4.bin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6768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7" name="think-cell Slide" r:id="rId70" imgW="383" imgH="385" progId="TCLayout.ActiveDocument.1">
                  <p:embed/>
                </p:oleObj>
              </mc:Choice>
              <mc:Fallback>
                <p:oleObj name="think-cell Slide" r:id="rId70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-61197" y="-64831"/>
            <a:ext cx="281145" cy="288413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/>
            <a:endParaRPr kumimoji="0" lang="en-US" sz="1400" b="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100% Column Cha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A64B81-DDF4-4C7E-9C3D-A4C47BE53E61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  <p:cxnSp>
        <p:nvCxnSpPr>
          <p:cNvPr id="21" name="Straight Connector 20"/>
          <p:cNvCxnSpPr/>
          <p:nvPr>
            <p:custDataLst>
              <p:tags r:id="rId4"/>
            </p:custDataLst>
          </p:nvPr>
        </p:nvCxnSpPr>
        <p:spPr bwMode="auto">
          <a:xfrm>
            <a:off x="3429000" y="3381375"/>
            <a:ext cx="1457325" cy="45720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/>
          <p:nvPr>
            <p:custDataLst>
              <p:tags r:id="rId5"/>
            </p:custDataLst>
          </p:nvPr>
        </p:nvCxnSpPr>
        <p:spPr bwMode="auto">
          <a:xfrm>
            <a:off x="3429000" y="5191125"/>
            <a:ext cx="1457325" cy="23812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/>
          <p:cNvCxnSpPr/>
          <p:nvPr>
            <p:custDataLst>
              <p:tags r:id="rId6"/>
            </p:custDataLst>
          </p:nvPr>
        </p:nvCxnSpPr>
        <p:spPr bwMode="auto">
          <a:xfrm flipV="1">
            <a:off x="5448300" y="4410075"/>
            <a:ext cx="447675" cy="666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>
            <p:custDataLst>
              <p:tags r:id="rId7"/>
            </p:custDataLst>
          </p:nvPr>
        </p:nvCxnSpPr>
        <p:spPr bwMode="auto">
          <a:xfrm flipV="1">
            <a:off x="7458075" y="5219700"/>
            <a:ext cx="447675" cy="1047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Connector 24"/>
          <p:cNvCxnSpPr/>
          <p:nvPr>
            <p:custDataLst>
              <p:tags r:id="rId8"/>
            </p:custDataLst>
          </p:nvPr>
        </p:nvCxnSpPr>
        <p:spPr bwMode="auto">
          <a:xfrm flipV="1">
            <a:off x="7458075" y="2181225"/>
            <a:ext cx="447675" cy="2952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/>
          <p:cNvCxnSpPr/>
          <p:nvPr>
            <p:custDataLst>
              <p:tags r:id="rId9"/>
            </p:custDataLst>
          </p:nvPr>
        </p:nvCxnSpPr>
        <p:spPr bwMode="auto">
          <a:xfrm>
            <a:off x="3429000" y="2476500"/>
            <a:ext cx="1457325" cy="28575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/>
          <p:cNvCxnSpPr/>
          <p:nvPr>
            <p:custDataLst>
              <p:tags r:id="rId10"/>
            </p:custDataLst>
          </p:nvPr>
        </p:nvCxnSpPr>
        <p:spPr bwMode="auto">
          <a:xfrm>
            <a:off x="3429000" y="3609975"/>
            <a:ext cx="1457325" cy="8667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/>
          <p:cNvCxnSpPr/>
          <p:nvPr>
            <p:custDataLst>
              <p:tags r:id="rId11"/>
            </p:custDataLst>
          </p:nvPr>
        </p:nvCxnSpPr>
        <p:spPr bwMode="auto">
          <a:xfrm>
            <a:off x="6448425" y="5057775"/>
            <a:ext cx="447675" cy="26670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/>
          <p:cNvCxnSpPr/>
          <p:nvPr>
            <p:custDataLst>
              <p:tags r:id="rId12"/>
            </p:custDataLst>
          </p:nvPr>
        </p:nvCxnSpPr>
        <p:spPr bwMode="auto">
          <a:xfrm flipV="1">
            <a:off x="7458075" y="4857750"/>
            <a:ext cx="447675" cy="285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/>
          <p:cNvCxnSpPr/>
          <p:nvPr>
            <p:custDataLst>
              <p:tags r:id="rId13"/>
            </p:custDataLst>
          </p:nvPr>
        </p:nvCxnSpPr>
        <p:spPr bwMode="auto">
          <a:xfrm>
            <a:off x="6448425" y="4410075"/>
            <a:ext cx="447675" cy="47625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/>
          <p:cNvCxnSpPr/>
          <p:nvPr>
            <p:custDataLst>
              <p:tags r:id="rId14"/>
            </p:custDataLst>
          </p:nvPr>
        </p:nvCxnSpPr>
        <p:spPr bwMode="auto">
          <a:xfrm>
            <a:off x="6448425" y="2476500"/>
            <a:ext cx="447675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/>
          <p:cNvCxnSpPr/>
          <p:nvPr>
            <p:custDataLst>
              <p:tags r:id="rId15"/>
            </p:custDataLst>
          </p:nvPr>
        </p:nvCxnSpPr>
        <p:spPr bwMode="auto">
          <a:xfrm flipV="1">
            <a:off x="5448300" y="5057775"/>
            <a:ext cx="447675" cy="371475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/>
          <p:cNvCxnSpPr/>
          <p:nvPr>
            <p:custDataLst>
              <p:tags r:id="rId16"/>
            </p:custDataLst>
          </p:nvPr>
        </p:nvCxnSpPr>
        <p:spPr bwMode="auto">
          <a:xfrm flipV="1">
            <a:off x="7458075" y="3914775"/>
            <a:ext cx="447675" cy="28575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33"/>
          <p:cNvCxnSpPr/>
          <p:nvPr>
            <p:custDataLst>
              <p:tags r:id="rId17"/>
            </p:custDataLst>
          </p:nvPr>
        </p:nvCxnSpPr>
        <p:spPr bwMode="auto">
          <a:xfrm>
            <a:off x="5448300" y="3838575"/>
            <a:ext cx="447675" cy="11430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34"/>
          <p:cNvCxnSpPr/>
          <p:nvPr>
            <p:custDataLst>
              <p:tags r:id="rId18"/>
            </p:custDataLst>
          </p:nvPr>
        </p:nvCxnSpPr>
        <p:spPr bwMode="auto">
          <a:xfrm>
            <a:off x="6448425" y="3952875"/>
            <a:ext cx="447675" cy="24765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/>
          <p:nvPr>
            <p:custDataLst>
              <p:tags r:id="rId19"/>
            </p:custDataLst>
          </p:nvPr>
        </p:nvCxnSpPr>
        <p:spPr bwMode="auto">
          <a:xfrm flipV="1">
            <a:off x="5448300" y="2476500"/>
            <a:ext cx="447675" cy="28575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7" name="Object 36"/>
          <p:cNvGraphicFramePr>
            <a:graphicFrameLocks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00171450"/>
              </p:ext>
            </p:extLst>
          </p:nvPr>
        </p:nvGraphicFramePr>
        <p:xfrm>
          <a:off x="1905000" y="1524000"/>
          <a:ext cx="6895910" cy="4438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Chart" r:id="rId72" imgW="6895910" imgH="4438786" progId="MSGraph.Chart.8">
                  <p:embed followColorScheme="full"/>
                </p:oleObj>
              </mc:Choice>
              <mc:Fallback>
                <p:oleObj name="Chart" r:id="rId72" imgW="6895910" imgH="443878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905000" y="1524000"/>
                        <a:ext cx="6895910" cy="4438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8" name="Straight Connector 37"/>
          <p:cNvCxnSpPr/>
          <p:nvPr>
            <p:custDataLst>
              <p:tags r:id="rId21"/>
            </p:custDataLst>
          </p:nvPr>
        </p:nvCxnSpPr>
        <p:spPr bwMode="auto">
          <a:xfrm>
            <a:off x="8467725" y="5219700"/>
            <a:ext cx="0" cy="42862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/>
          <p:cNvCxnSpPr/>
          <p:nvPr>
            <p:custDataLst>
              <p:tags r:id="rId22"/>
            </p:custDataLst>
          </p:nvPr>
        </p:nvCxnSpPr>
        <p:spPr bwMode="auto">
          <a:xfrm>
            <a:off x="7905750" y="5219700"/>
            <a:ext cx="56197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39"/>
          <p:cNvCxnSpPr/>
          <p:nvPr>
            <p:custDataLst>
              <p:tags r:id="rId23"/>
            </p:custDataLst>
          </p:nvPr>
        </p:nvCxnSpPr>
        <p:spPr bwMode="auto">
          <a:xfrm>
            <a:off x="8467725" y="4857750"/>
            <a:ext cx="0" cy="3619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40"/>
          <p:cNvCxnSpPr/>
          <p:nvPr>
            <p:custDataLst>
              <p:tags r:id="rId24"/>
            </p:custDataLst>
          </p:nvPr>
        </p:nvCxnSpPr>
        <p:spPr bwMode="auto">
          <a:xfrm>
            <a:off x="7905750" y="4857750"/>
            <a:ext cx="0" cy="3619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41"/>
          <p:cNvCxnSpPr/>
          <p:nvPr>
            <p:custDataLst>
              <p:tags r:id="rId25"/>
            </p:custDataLst>
          </p:nvPr>
        </p:nvCxnSpPr>
        <p:spPr bwMode="auto">
          <a:xfrm>
            <a:off x="7905750" y="5219700"/>
            <a:ext cx="0" cy="42862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/>
          <p:cNvCxnSpPr/>
          <p:nvPr>
            <p:custDataLst>
              <p:tags r:id="rId26"/>
            </p:custDataLst>
          </p:nvPr>
        </p:nvCxnSpPr>
        <p:spPr bwMode="auto">
          <a:xfrm>
            <a:off x="7905750" y="3914775"/>
            <a:ext cx="56197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43"/>
          <p:cNvCxnSpPr/>
          <p:nvPr>
            <p:custDataLst>
              <p:tags r:id="rId27"/>
            </p:custDataLst>
          </p:nvPr>
        </p:nvCxnSpPr>
        <p:spPr bwMode="auto">
          <a:xfrm>
            <a:off x="7905750" y="4857750"/>
            <a:ext cx="56197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44"/>
          <p:cNvCxnSpPr/>
          <p:nvPr>
            <p:custDataLst>
              <p:tags r:id="rId28"/>
            </p:custDataLst>
          </p:nvPr>
        </p:nvCxnSpPr>
        <p:spPr bwMode="auto">
          <a:xfrm>
            <a:off x="8467725" y="3914775"/>
            <a:ext cx="0" cy="9429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Straight Connector 45"/>
          <p:cNvCxnSpPr/>
          <p:nvPr>
            <p:custDataLst>
              <p:tags r:id="rId29"/>
            </p:custDataLst>
          </p:nvPr>
        </p:nvCxnSpPr>
        <p:spPr bwMode="auto">
          <a:xfrm>
            <a:off x="7905750" y="2181225"/>
            <a:ext cx="56197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Straight Connector 46"/>
          <p:cNvCxnSpPr/>
          <p:nvPr>
            <p:custDataLst>
              <p:tags r:id="rId30"/>
            </p:custDataLst>
          </p:nvPr>
        </p:nvCxnSpPr>
        <p:spPr bwMode="auto">
          <a:xfrm>
            <a:off x="7905750" y="2181225"/>
            <a:ext cx="0" cy="17335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47"/>
          <p:cNvCxnSpPr/>
          <p:nvPr>
            <p:custDataLst>
              <p:tags r:id="rId31"/>
            </p:custDataLst>
          </p:nvPr>
        </p:nvCxnSpPr>
        <p:spPr bwMode="auto">
          <a:xfrm>
            <a:off x="8467725" y="2181225"/>
            <a:ext cx="0" cy="17335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/>
          <p:cNvCxnSpPr/>
          <p:nvPr>
            <p:custDataLst>
              <p:tags r:id="rId32"/>
            </p:custDataLst>
          </p:nvPr>
        </p:nvCxnSpPr>
        <p:spPr bwMode="auto">
          <a:xfrm>
            <a:off x="7905750" y="3914775"/>
            <a:ext cx="0" cy="9429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/>
          <p:cNvCxnSpPr/>
          <p:nvPr>
            <p:custDataLst>
              <p:tags r:id="rId33"/>
            </p:custDataLst>
          </p:nvPr>
        </p:nvCxnSpPr>
        <p:spPr bwMode="auto">
          <a:xfrm flipH="1">
            <a:off x="8518525" y="2476500"/>
            <a:ext cx="2032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51" name="Text Placeholder 141"/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8609013" y="427990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DAA7BDE0-DFED-413E-9BD6-165C5025FD69}" type="datetime'''''''''''''''''''''B''''''''''''''''l''''''''''''ue'''''">
              <a:rPr lang="en-US" sz="1400" b="0"/>
              <a:pPr/>
              <a:t>Blue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133"/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8609013" y="2941638"/>
            <a:ext cx="3254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D1526DE7-5BFF-4E80-B764-2757E4FE7C95}" type="datetime'''''''''''''''''''''''''''''''''''R''''''''ed'''''''''''''">
              <a:rPr lang="en-US" sz="1400" b="0"/>
              <a:pPr/>
              <a:t>Red</a:t>
            </a:fld>
            <a:endParaRPr lang="en-US" sz="1400" b="0" kern="0" dirty="0">
              <a:sym typeface="+mn-lt"/>
            </a:endParaRPr>
          </a:p>
        </p:txBody>
      </p:sp>
      <p:sp>
        <p:nvSpPr>
          <p:cNvPr id="53" name="Text Placeholder 158"/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5019675" y="4051300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A33A3FB-62DA-4A41-AD79-C2E069FE363F}" type="datetime'''''''2''''''''''''''''''''''''''''.''''''''''''''0'''''''''''">
              <a:rPr lang="en-US" sz="1400" b="0">
                <a:solidFill>
                  <a:schemeClr val="bg1"/>
                </a:solidFill>
              </a:rPr>
              <a:pPr/>
              <a:t>2.0</a:t>
            </a:fld>
            <a:endParaRPr lang="en-US" sz="1400" b="0" kern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4" name="Text Placeholder 139"/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7983538" y="58102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99D9386-8BDD-413A-AE9F-5C75A8F5058F}" type="datetime'''''''''''''''''''2''01''''''''''''''''3'''''''''">
              <a:rPr lang="en-US" sz="1400" b="0"/>
              <a:pPr/>
              <a:t>2013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Text Placeholder 140"/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7875588" y="1730375"/>
            <a:ext cx="62230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9538507-0338-4D26-9FC2-EC1024D6FBC8}" type="datetime'''''''''''''''''''''''''''''''''''''''2''''4.''''''0'''''">
              <a:rPr lang="en-US" sz="1400" b="0"/>
              <a:pPr/>
              <a:t>24.0</a:t>
            </a:fld>
            <a:r>
              <a:rPr lang="en-US" sz="1400" b="0" smtClean="0"/>
              <a:t/>
            </a:r>
            <a:br>
              <a:rPr lang="en-US" sz="1400" b="0" smtClean="0"/>
            </a:br>
            <a:r>
              <a:rPr lang="en-US" sz="1400" b="0" smtClean="0"/>
              <a:t>(</a:t>
            </a:r>
            <a:fld id="{8CC9E44F-E8C6-43A6-8066-069C40C03576}" type="datetime'''''''''1''0''''''''''''''''9''''%'''''''''''">
              <a:rPr lang="en-US" sz="1400" b="0"/>
              <a:pPr/>
              <a:t>109%</a:t>
            </a:fld>
            <a:r>
              <a:rPr lang="en-US" sz="1400" b="0" smtClean="0"/>
              <a:t>)</a:t>
            </a:r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Text Placeholder 148"/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8609013" y="5327650"/>
            <a:ext cx="508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55DDDA55-8AFC-438A-A290-1916E57213A1}" type="datetime'''''''''''Y''''''el''l''''''''''''''''''ow'''''">
              <a:rPr lang="en-US" sz="1400" b="0"/>
              <a:pPr/>
              <a:t>Yellow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Text Placeholder 154"/>
          <p:cNvSpPr txBox="1">
            <a:spLocks/>
          </p:cNvSpPr>
          <p:nvPr>
            <p:custDataLst>
              <p:tags r:id="rId40"/>
            </p:custDataLst>
          </p:nvPr>
        </p:nvSpPr>
        <p:spPr bwMode="gray">
          <a:xfrm>
            <a:off x="3000375" y="3389313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813B281-07FF-4348-942A-250FA37EAFDB}" type="datetime'''''''''''''''''''0.''''''''''''''''''5'''''''">
              <a:rPr lang="en-US" sz="1400" b="0">
                <a:solidFill>
                  <a:schemeClr val="bg1"/>
                </a:solidFill>
              </a:rPr>
              <a:pPr/>
              <a:t>0.5</a:t>
            </a:fld>
            <a:endParaRPr lang="en-US" sz="1400" b="0" kern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8" name="Text Placeholder 155"/>
          <p:cNvSpPr txBox="1">
            <a:spLocks/>
          </p:cNvSpPr>
          <p:nvPr>
            <p:custDataLst>
              <p:tags r:id="rId41"/>
            </p:custDataLst>
          </p:nvPr>
        </p:nvSpPr>
        <p:spPr bwMode="gray">
          <a:xfrm>
            <a:off x="3000375" y="2822575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E73A2C9-A0FA-4668-B8B0-DDCCDAE7DD81}" type="datetime'''''''2.0'''''''''''''''''''''''''''">
              <a:rPr lang="en-US" sz="1400" b="0"/>
              <a:pPr/>
              <a:t>2.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Text Placeholder 153"/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3000375" y="4294188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8CFAC26-822A-4DD8-9462-45BE9029546C}" type="datetime'''''''''''''''3''''''''''''''''''.''''''''''''''5'''''''">
              <a:rPr lang="en-US" sz="1400" b="0"/>
              <a:pPr/>
              <a:t>3.5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Text Placeholder 162"/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6024563" y="4075113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8E9670D-7F51-4A21-8972-FBAD6C138AC6}" type="datetime'''''''''''''''''''''''''''''2''''''''''''''''.''''''5'''">
              <a:rPr lang="en-US" sz="1400" b="0">
                <a:solidFill>
                  <a:schemeClr val="bg1"/>
                </a:solidFill>
              </a:rPr>
              <a:pPr/>
              <a:t>2.5</a:t>
            </a:fld>
            <a:endParaRPr lang="en-US" sz="1400" b="0" kern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1" name="Text Placeholder 122"/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8772525" y="2386013"/>
            <a:ext cx="3873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63A78B7C-5D1D-41EC-BB9A-76C0F9906275}" type="datetime'''''''''''''''''''''''''''''1''''''''00''''''''''''''''''%'">
              <a:rPr lang="en-US" sz="1200" b="0"/>
              <a:pPr/>
              <a:t>100%</a:t>
            </a:fld>
            <a:endParaRPr lang="en-US" sz="1200" b="0" kern="0" dirty="0">
              <a:sym typeface="+mn-lt"/>
            </a:endParaRPr>
          </a:p>
        </p:txBody>
      </p:sp>
      <p:sp>
        <p:nvSpPr>
          <p:cNvPr id="62" name="Text Placeholder 124"/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4964113" y="58102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4B1B1F9-E425-4C00-A01A-5A21B1CBE09E}" type="datetime'''''''''''''''''''''''20''''''''''''''''1''''0'">
              <a:rPr lang="en-US" sz="1400" b="0"/>
              <a:pPr/>
              <a:t>2010</a:t>
            </a:fld>
            <a:endParaRPr lang="en-US" sz="1400" b="0" kern="0" dirty="0">
              <a:sym typeface="+mn-lt"/>
            </a:endParaRPr>
          </a:p>
        </p:txBody>
      </p:sp>
      <p:sp>
        <p:nvSpPr>
          <p:cNvPr id="63" name="Text Placeholder 163"/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6024563" y="3108325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2D1FDCB-EAAA-4456-8CF6-D6BBDB112785}" type="datetime'''''''''''''''8''''''''''''''''''''.''0'''''''''''">
              <a:rPr lang="en-US" sz="1400" b="0"/>
              <a:pPr/>
              <a:t>8.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 Placeholder 157"/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5019675" y="4846638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B19127F-97CF-41E0-A52F-392DC421B9B9}" type="datetime'''''''''''''''''''''''3''''.''''''0'''''">
              <a:rPr lang="en-US" sz="1400" b="0"/>
              <a:pPr/>
              <a:t>3.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159"/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5019675" y="3194050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4771001-7DCD-4F39-ADD9-F2F35627FE92}" type="datetime'''''''''''''''3''''''''''''.''''''''''''''''''''''''''''''4'">
              <a:rPr lang="en-US" sz="1400" b="0"/>
              <a:pPr/>
              <a:t>3.4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135"/>
          <p:cNvSpPr txBox="1">
            <a:spLocks/>
          </p:cNvSpPr>
          <p:nvPr>
            <p:custDataLst>
              <p:tags r:id="rId49"/>
            </p:custDataLst>
          </p:nvPr>
        </p:nvSpPr>
        <p:spPr bwMode="gray">
          <a:xfrm>
            <a:off x="4905375" y="2311400"/>
            <a:ext cx="5238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8D79AB4-A579-43FC-9DB9-12BE2819E9A6}" type="datetime'''''9''''''''''''''''''''''.''''''''''''''''''1'''">
              <a:rPr lang="en-US" sz="1400" b="0"/>
              <a:pPr/>
              <a:t>9.1</a:t>
            </a:fld>
            <a:r>
              <a:rPr lang="en-US" sz="1400" b="0" smtClean="0"/>
              <a:t/>
            </a:r>
            <a:br>
              <a:rPr lang="en-US" sz="1400" b="0" smtClean="0"/>
            </a:br>
            <a:r>
              <a:rPr lang="en-US" sz="1400" b="0" smtClean="0"/>
              <a:t>(</a:t>
            </a:r>
            <a:fld id="{E2C9C092-74EE-43AC-BB1D-1100BF07B4BC}" type="datetime'''''''''''''''9''''1''''''''''%'''''''''''''''''">
              <a:rPr lang="en-US" sz="1400" b="0"/>
              <a:pPr/>
              <a:t>91%</a:t>
            </a:fld>
            <a:r>
              <a:rPr lang="en-US" sz="1400" b="0" smtClean="0"/>
              <a:t>)</a:t>
            </a:r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156"/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5019675" y="5432425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1790A4C-5D36-4F6C-BCBC-B0561619B648}" type="datetime'''''0''''.''''''''''''''''''''''''''''7'''''''''''">
              <a:rPr lang="en-US" sz="1400" b="0">
                <a:solidFill>
                  <a:schemeClr val="bg1"/>
                </a:solidFill>
              </a:rPr>
              <a:pPr/>
              <a:t>0.7</a:t>
            </a:fld>
            <a:endParaRPr lang="en-US" sz="1400" b="0" kern="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123"/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2944813" y="58102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C3FE74C-5190-47F2-97A3-8CCA7B66B4F8}" type="datetime'''''''''''''2''''0''''''''''''''''''''0''''8'''''''">
              <a:rPr lang="en-US" sz="1400" b="0"/>
              <a:pPr/>
              <a:t>2008</a:t>
            </a:fld>
            <a:endParaRPr lang="en-US" sz="1400" b="0" kern="0" dirty="0">
              <a:sym typeface="+mn-lt"/>
            </a:endParaRPr>
          </a:p>
        </p:txBody>
      </p:sp>
      <p:sp>
        <p:nvSpPr>
          <p:cNvPr id="69" name="Text Placeholder 134"/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2836863" y="2025650"/>
            <a:ext cx="62230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3BAE6DE-4A67-45B3-9D4D-B35F9C08EA5C}" type="datetime'7''.''''''''''''''''''''''''''''''''''''''''''0'''">
              <a:rPr lang="en-US" sz="1400" b="0"/>
              <a:pPr/>
              <a:t>7.0</a:t>
            </a:fld>
            <a:r>
              <a:rPr lang="en-US" sz="1400" b="0" smtClean="0"/>
              <a:t/>
            </a:r>
            <a:br>
              <a:rPr lang="en-US" sz="1400" b="0" smtClean="0"/>
            </a:br>
            <a:r>
              <a:rPr lang="en-US" sz="1400" b="0" smtClean="0"/>
              <a:t>(</a:t>
            </a:r>
            <a:fld id="{E5E3CF46-D522-468C-AFCD-9430A1387435}" type="datetime'''''''''''''''10''''''''0''%'''''''''''''''''''''''''">
              <a:rPr lang="en-US" sz="1400" b="0"/>
              <a:pPr/>
              <a:t>100%</a:t>
            </a:fld>
            <a:r>
              <a:rPr lang="en-US" sz="1400" b="0" smtClean="0"/>
              <a:t>)</a:t>
            </a:r>
            <a:endParaRPr lang="en-US" sz="1400" b="0" kern="0" dirty="0">
              <a:sym typeface="+mn-lt"/>
            </a:endParaRPr>
          </a:p>
        </p:txBody>
      </p:sp>
      <p:sp>
        <p:nvSpPr>
          <p:cNvPr id="70" name="Text Placeholder 152"/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3000375" y="5313363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6C8DFE2-E952-4D35-A38F-5C9DA7992C84}" type="datetime'''''1''''''''''''''''''''''''''.''0'''''''''''">
              <a:rPr lang="en-US" sz="1400" b="0">
                <a:solidFill>
                  <a:schemeClr val="bg1"/>
                </a:solidFill>
              </a:rPr>
              <a:pPr/>
              <a:t>1.0</a:t>
            </a:fld>
            <a:endParaRPr lang="en-US" sz="1400" b="0" kern="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 Placeholder 125"/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5975350" y="5810250"/>
            <a:ext cx="393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B327E8D-034E-4405-8779-FCFFB95BADEE}" type="datetime'20''''''1''''''''''''1'''''''''">
              <a:rPr lang="en-US" sz="1400" b="0"/>
              <a:pPr/>
              <a:t>2011</a:t>
            </a:fld>
            <a:endParaRPr lang="en-US" sz="1400" b="0" kern="0" dirty="0">
              <a:sym typeface="+mn-lt"/>
            </a:endParaRPr>
          </a:p>
        </p:txBody>
      </p:sp>
      <p:sp>
        <p:nvSpPr>
          <p:cNvPr id="72" name="Text Placeholder 168"/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8039100" y="5327650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17B8FE1-BD46-4536-AD8A-4DF4926A9078}" type="datetime'''''''''''''3''''.''''''''''''''''''''''0'">
              <a:rPr lang="en-US" sz="1400" b="0">
                <a:solidFill>
                  <a:schemeClr val="bg1"/>
                </a:solidFill>
              </a:rPr>
              <a:pPr/>
              <a:t>3.0</a:t>
            </a:fld>
            <a:endParaRPr lang="en-US" sz="1400" b="0" kern="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171"/>
          <p:cNvSpPr txBox="1">
            <a:spLocks/>
          </p:cNvSpPr>
          <p:nvPr>
            <p:custDataLst>
              <p:tags r:id="rId56"/>
            </p:custDataLst>
          </p:nvPr>
        </p:nvSpPr>
        <p:spPr bwMode="gray">
          <a:xfrm>
            <a:off x="7989888" y="2941638"/>
            <a:ext cx="395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AE49C4B-74F1-45BA-A557-9D2DC5CB11EE}" type="datetime'''''''''''1''''''''''''2''''.''''0'''''''''''''''''''">
              <a:rPr lang="en-US" sz="1400" b="0"/>
              <a:pPr/>
              <a:t>12.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136"/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5861050" y="2025650"/>
            <a:ext cx="62230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D8E2942-27FA-4507-B8F1-084CBCFF70B0}" type="datetime'''''''''''''''''''''''''''1''''''''7''.''''''2'''''''''''">
              <a:rPr lang="en-US" sz="1400" b="0"/>
              <a:pPr/>
              <a:t>17.2</a:t>
            </a:fld>
            <a:r>
              <a:rPr lang="en-US" sz="1400" b="0" smtClean="0"/>
              <a:t/>
            </a:r>
            <a:br>
              <a:rPr lang="en-US" sz="1400" b="0" smtClean="0"/>
            </a:br>
            <a:r>
              <a:rPr lang="en-US" sz="1400" b="0" smtClean="0"/>
              <a:t>(</a:t>
            </a:r>
            <a:fld id="{10C6828D-F5EB-4742-A6DD-A5C55B8D5EC1}" type="datetime'''1''''0''''''''''''''''''''''''''''''''''''0''''''''''%'''''">
              <a:rPr lang="en-US" sz="1400" b="0"/>
              <a:pPr/>
              <a:t>100%</a:t>
            </a:fld>
            <a:r>
              <a:rPr lang="en-US" sz="1400" b="0" smtClean="0"/>
              <a:t>)</a:t>
            </a:r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Text Placeholder 169"/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8039100" y="4932363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1FF9151-3EC3-47C9-962A-9E5C5D97937A}" type="datetime'''2''''''''''.5'''''''''''''''''''''''''''''''">
              <a:rPr lang="en-US" sz="1400" b="0"/>
              <a:pPr/>
              <a:t>2.5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6" name="Text Placeholder 161"/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6024563" y="4627563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DC99E98-E002-4CB2-9DCC-B51A00BAC4F8}" type="datetime'''''''''''''''''''3''.5'">
              <a:rPr lang="en-US" sz="1400" b="0"/>
              <a:pPr/>
              <a:t>3.5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Text Placeholder 164"/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7029450" y="5380038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E62731A-3581-4A5A-B552-85BFB13A6F4B}" type="datetime'''''''''''''''''''''''''''''1''''''''''.''9'''''''">
              <a:rPr lang="en-US" sz="1400" b="0">
                <a:solidFill>
                  <a:schemeClr val="bg1"/>
                </a:solidFill>
              </a:rPr>
              <a:pPr/>
              <a:t>1.9</a:t>
            </a:fld>
            <a:endParaRPr lang="en-US" sz="1400" b="0" kern="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166"/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029450" y="4437063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B9223C6-7E55-4F6E-83FC-9CF8A7E08A9D}" type="datetime'''''''4''''''''''.''''''''''''''''''''''''''''''''''''''0'''">
              <a:rPr lang="en-US" sz="1400" b="0">
                <a:solidFill>
                  <a:schemeClr val="bg1"/>
                </a:solidFill>
              </a:rPr>
              <a:pPr/>
              <a:t>4.0</a:t>
            </a:fld>
            <a:endParaRPr lang="en-US" sz="1400" b="0" kern="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 Placeholder 170"/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8039100" y="4279900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44DE7DE-93A1-4067-BE9C-F55D22B4D7E0}" type="datetime'''''''''''''''''''''''''''''''''''''6''''''''''''''''''''.''5'">
              <a:rPr lang="en-US" sz="1400" b="0">
                <a:solidFill>
                  <a:schemeClr val="bg1"/>
                </a:solidFill>
              </a:rPr>
              <a:pPr/>
              <a:t>6.5</a:t>
            </a:fld>
            <a:endParaRPr lang="en-US" sz="1400" b="0" kern="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137"/>
          <p:cNvSpPr txBox="1">
            <a:spLocks/>
          </p:cNvSpPr>
          <p:nvPr>
            <p:custDataLst>
              <p:tags r:id="rId63"/>
            </p:custDataLst>
          </p:nvPr>
        </p:nvSpPr>
        <p:spPr bwMode="auto">
          <a:xfrm>
            <a:off x="6973888" y="58102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0566958-75CB-47B1-A6DF-F25DBD6894C7}" type="datetime'''2''''''0''''''''1''''''''''''''''''''''2'''">
              <a:rPr lang="en-US" sz="1400" b="0"/>
              <a:pPr/>
              <a:t>2012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Text Placeholder 138"/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6865938" y="2025650"/>
            <a:ext cx="62230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BD3FE21-3807-4426-BF61-9581F644462C}" type="datetime'''''''''''''''''''1''''''''8''''''''.''''4'''''''''">
              <a:rPr lang="en-US" sz="1400" b="0"/>
              <a:pPr/>
              <a:t>18.4</a:t>
            </a:fld>
            <a:r>
              <a:rPr lang="en-US" sz="1400" b="0" smtClean="0"/>
              <a:t/>
            </a:r>
            <a:br>
              <a:rPr lang="en-US" sz="1400" b="0" smtClean="0"/>
            </a:br>
            <a:r>
              <a:rPr lang="en-US" sz="1400" b="0" smtClean="0"/>
              <a:t>(</a:t>
            </a:r>
            <a:fld id="{AC972225-CFE0-48B5-8612-C47CA6D2541C}" type="datetime'''''''''''1''''0''0''''''''%'''''''''''''''''''''''''''''">
              <a:rPr lang="en-US" sz="1400" b="0"/>
              <a:pPr/>
              <a:t>100%</a:t>
            </a:fld>
            <a:r>
              <a:rPr lang="en-US" sz="1400" b="0" smtClean="0"/>
              <a:t>)</a:t>
            </a:r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Text Placeholder 165"/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7029450" y="4999038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8212351-BC53-4495-B3CE-2BE38431D089}" type="datetime'''''''''2''''''.''''''''''''''''''''5'">
              <a:rPr lang="en-US" sz="1400" b="0"/>
              <a:pPr/>
              <a:t>2.5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" name="Text Placeholder 167"/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6980238" y="3232150"/>
            <a:ext cx="395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310433D-6F69-4FB8-91D4-D6DE83384234}" type="datetime'''1''0''''''''''''''''''''''''''.''''''''0'''">
              <a:rPr lang="en-US" sz="1400" b="0"/>
              <a:pPr/>
              <a:t>10.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Text Placeholder 160"/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6024563" y="5246688"/>
            <a:ext cx="296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B449F57-42FE-4675-A501-3BF1024F0CEE}" type="datetime'''''''''''''''''''''''''3''''''''''''''''''.''''''''''''''2'">
              <a:rPr lang="en-US" sz="1400" b="0">
                <a:solidFill>
                  <a:schemeClr val="bg1"/>
                </a:solidFill>
              </a:rPr>
              <a:pPr/>
              <a:t>3.2</a:t>
            </a:fld>
            <a:endParaRPr lang="en-US" sz="1400" b="0" kern="0" dirty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Text Placeholder 145"/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8609013" y="4932363"/>
            <a:ext cx="492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7B578ECE-05D2-4DFF-9CA1-4C25D279D9C1}" type="datetime'''''''''''''G''''''r''e''e''''''''''''''''''''''''''n'''">
              <a:rPr lang="en-US" sz="1400" b="0"/>
              <a:pPr/>
              <a:t>Green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9570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1&quot;&gt;&lt;elem m_fUsage=&quot;1.00000000000000000000E+000&quot;&gt;&lt;m_msothmcolidx val=&quot;0&quot;/&gt;&lt;m_rgb r=&quot;cf&quot; g=&quot;cf&quot; b=&quot;c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OfpYJHqUWje6pa_uVN_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8R1yH.pU.ZYGS_zFTv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U8rPMSX0qNtur8tr8t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YLZx._sUmcZ2cNfEME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.nx454RUqteXGiqE1A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OnPD_wH0mlVaMlR0v9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Sh3SWc9UyTchtkEbiu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WWtFlTNEq_UkJPCk7N8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wx6eDl0k28toLDL07Dk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7pUaKhhE21d_GKeaan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JybfW67J70eTncmI9DWa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Y5dH.EWkaMDqVFZiCL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DpqQ.R4UCvj3oTRwwR1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4qBaVEQ0.OS_Gm8GPr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xTA3iwRU2HjPSTRJga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nsOADoPk2u79S5WmQTs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S01_.Uz0qPE1SwYLRJc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UcUOJTREijn8SUn_40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O_VlcVkUSrUUBvAMWb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TZ1NvqmEKUR_bbrDNF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AAltbhSkW_a9eAHbh3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BTyVV7dJkO_SA.ZGwD20w"/>
  <p:tag name="THINKCELLIDDONOTDELETE" val="WImSoy1BGk2qeJ_gZBR4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KxRfb9pUyah0qWbaDtv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U4c7vQAESJZchSMz4v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hHqe3zkU20gW7MwMUy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xDPbX56kyEeORxqDtmb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TAZ39cRUarw_eq4UDr0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Mr2RpS4ki.sVb86pQE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AkfNLodUuEhl_U6.wkf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umhbjPk2Ut42yC9J0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T7lkvkDEe2XT4VWRcl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Dfo551_UuKiXhTiJhu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pZ1n4fkuIEU51k6F2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OJMG2gmUK3Jv5DZVES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RknJjpskW4aXo8VgEC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KrmAQcG06xr5x28IAH5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Wx6OjWfkeWt.w3M0_yi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dyyFIGZUC_DwoGRtB6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RtgrQ_KUyw6Iy1oGLj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U_SrJJiEiq.e6e3mdL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0BMGKQ30uOqeBCmKKnZ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JXeCtC80.8iUr0GmcbQ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oehRqCGUuAxhg4buIf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X2ICsL0UCmTHCSQ5Fj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F95iJ37kWvYG5D_rXg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EoIzJ7jk.E2By2C8VRB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C1gkjweEOezKvuYIGqQ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U52f5_C06cKg1IRibt9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nUqE7WokqVZL3t4cqM3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BXkF3i7Uau5.riMpnAK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B6jr4KhU2q.0.fXImmz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62uT5590usQ_kv1f9Lu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5DbfqxXUCGn8jMGpuK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vGHAdlEqToWJwrs7E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n6NfV.OkuaIXHFHlpJR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B6.jz1BUSbbBwWwvv7Z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D1NMVR3EecpGQpkXg2V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.cJP0KbEGBeHTu.81qm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wgxnDNv0iPQiDfwrRFu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bsTXRXm0SQS_D5IW_Ya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rwBtp8ik2kFV3OLVd_x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ycOdnL_UypzNNqDpOa_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llCVWxokWx66vy1L5P9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Fnhcyn8EaeQV7sNEiT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auXhqr5kqTL2YK0GZhb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izLExuEkKqo9yyiFf5H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hdycvASkimOTvMa1SD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qKGCnYN06iOE0EtdZ93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5iXO1gY0a1dPPMjiVmIQ"/>
</p:tagLst>
</file>

<file path=ppt/theme/theme1.xml><?xml version="1.0" encoding="utf-8"?>
<a:theme xmlns:a="http://schemas.openxmlformats.org/drawingml/2006/main" name="think-cell Master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D8D8D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CD3DA"/>
      </a:accent6>
      <a:hlink>
        <a:srgbClr val="BACCDE"/>
      </a:hlink>
      <a:folHlink>
        <a:srgbClr val="85A5C5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0</Words>
  <Application>Microsoft Office PowerPoint</Application>
  <PresentationFormat>Custom</PresentationFormat>
  <Paragraphs>37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think-cell Master</vt:lpstr>
      <vt:lpstr>think-cell Slide</vt:lpstr>
      <vt:lpstr>Chart</vt:lpstr>
      <vt:lpstr>100% Column Char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6:40:45Z</dcterms:created>
  <dcterms:modified xsi:type="dcterms:W3CDTF">2013-11-29T16:41:01Z</dcterms:modified>
</cp:coreProperties>
</file>